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3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B2F-4FA6-8AD6-0FFA1BE5C35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2FC-4FD1-A24B-D0003903E9C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2FC-4FD1-A24B-D0003903E9CB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2FC-4FD1-A24B-D0003903E9CB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A2FC-4FD1-A24B-D0003903E9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2F-4FA6-8AD6-0FFA1BE5C35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9E7EC6-B982-7222-386E-8D392F0A25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F99BA0AD-1787-7A4D-F49C-4FC293398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Doughnut Chart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4BB6B214-DEAF-2A2B-AA1E-A27EDF17146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14375" y="1889125"/>
          <a:ext cx="16859250" cy="7326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952400-68C0-8EDB-FCF0-5A04EA851B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A6A57D-8F08-F09B-48C3-4F5EA03671FF}"/>
              </a:ext>
            </a:extLst>
          </p:cNvPr>
          <p:cNvSpPr txBox="1"/>
          <p:nvPr/>
        </p:nvSpPr>
        <p:spPr>
          <a:xfrm>
            <a:off x="714375" y="1692634"/>
            <a:ext cx="16858800" cy="430887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4000" b="1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800" dirty="0"/>
              <a:t>Sales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978674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98</TotalTime>
  <Words>5</Words>
  <Application>Microsoft Office PowerPoint</Application>
  <PresentationFormat>Custom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Doughnut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91</cp:revision>
  <dcterms:created xsi:type="dcterms:W3CDTF">2006-08-16T00:00:00Z</dcterms:created>
  <dcterms:modified xsi:type="dcterms:W3CDTF">2025-10-06T09:01:25Z</dcterms:modified>
  <cp:category/>
  <dc:identifier>DAGkDf5R9EM</dc:identifier>
</cp:coreProperties>
</file>